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58" r:id="rId2"/>
    <p:sldId id="491" r:id="rId3"/>
    <p:sldId id="492" r:id="rId4"/>
    <p:sldId id="493" r:id="rId5"/>
    <p:sldId id="510" r:id="rId6"/>
    <p:sldId id="501" r:id="rId7"/>
    <p:sldId id="494" r:id="rId8"/>
    <p:sldId id="509" r:id="rId9"/>
    <p:sldId id="511" r:id="rId10"/>
    <p:sldId id="502" r:id="rId11"/>
    <p:sldId id="507" r:id="rId12"/>
    <p:sldId id="503" r:id="rId13"/>
    <p:sldId id="504" r:id="rId14"/>
    <p:sldId id="506" r:id="rId15"/>
    <p:sldId id="508" r:id="rId16"/>
    <p:sldId id="512" r:id="rId17"/>
    <p:sldId id="495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06EA57C-638F-4EEB-85FA-42A8FAD6C3D4}">
          <p14:sldIdLst>
            <p14:sldId id="258"/>
            <p14:sldId id="491"/>
            <p14:sldId id="492"/>
            <p14:sldId id="493"/>
            <p14:sldId id="510"/>
            <p14:sldId id="501"/>
            <p14:sldId id="494"/>
            <p14:sldId id="509"/>
            <p14:sldId id="511"/>
            <p14:sldId id="502"/>
            <p14:sldId id="507"/>
            <p14:sldId id="503"/>
            <p14:sldId id="504"/>
            <p14:sldId id="506"/>
            <p14:sldId id="508"/>
            <p14:sldId id="512"/>
            <p14:sldId id="4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E2"/>
    <a:srgbClr val="CC3399"/>
    <a:srgbClr val="FF9900"/>
    <a:srgbClr val="F9F92B"/>
    <a:srgbClr val="005555"/>
    <a:srgbClr val="FF00FF"/>
    <a:srgbClr val="29485D"/>
    <a:srgbClr val="FF33CC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5875" autoAdjust="0"/>
  </p:normalViewPr>
  <p:slideViewPr>
    <p:cSldViewPr snapToGrid="0" snapToObjects="1" showGuides="1">
      <p:cViewPr varScale="1">
        <p:scale>
          <a:sx n="152" d="100"/>
          <a:sy n="152" d="100"/>
        </p:scale>
        <p:origin x="570" y="144"/>
      </p:cViewPr>
      <p:guideLst>
        <p:guide orient="horz" pos="4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528"/>
    </p:cViewPr>
  </p:sorterViewPr>
  <p:notesViewPr>
    <p:cSldViewPr snapToGrid="0" snapToObjects="1">
      <p:cViewPr varScale="1">
        <p:scale>
          <a:sx n="99" d="100"/>
          <a:sy n="99" d="100"/>
        </p:scale>
        <p:origin x="2532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2B36E-8DF3-40FB-A86F-0CDEABF16D13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7AEE6-5A71-4E5F-89B4-382C2E000A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16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22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46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39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9.xml"/><Relationship Id="rId7" Type="http://schemas.openxmlformats.org/officeDocument/2006/relationships/image" Target="../media/image1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4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0426" y="4824000"/>
            <a:ext cx="2748748" cy="14971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EBBDA7-6903-4965-940D-9CA4BDB6D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93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06"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EBBDA7-6903-4965-940D-9CA4BDB6D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9CB890-5F47-40B9-B412-C8E4F9E37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IMMPRINT detector system DPA</a:t>
            </a:r>
            <a:br>
              <a:rPr lang="de-DE" smtClean="0"/>
            </a:br>
            <a:r>
              <a:rPr lang="de-DE" sz="1600" smtClean="0"/>
              <a:t>Status</a:t>
            </a:r>
            <a:endParaRPr lang="de-DE" sz="16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r>
              <a:rPr lang="de-DE" dirty="0"/>
              <a:t>Semiconductor Laboratory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ax Planck Society</a:t>
            </a:r>
          </a:p>
          <a:p>
            <a:pPr>
              <a:lnSpc>
                <a:spcPts val="2200"/>
              </a:lnSpc>
            </a:pPr>
            <a:r>
              <a:rPr lang="de-DE" dirty="0"/>
              <a:t>Garching</a:t>
            </a:r>
            <a:r>
              <a:rPr lang="de-DE"/>
              <a:t>, </a:t>
            </a:r>
            <a:r>
              <a:rPr lang="de-DE" smtClean="0"/>
              <a:t>23.10.2025</a:t>
            </a:r>
            <a:endParaRPr lang="de-DE" dirty="0"/>
          </a:p>
        </p:txBody>
      </p:sp>
      <p:pic>
        <p:nvPicPr>
          <p:cNvPr id="10" name="Picture 2" descr="C:\Users\jft\Documents\share\Users\jft\Grafik\Fotos\Hybrid_etc\IMG_5118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6802" y="3100224"/>
            <a:ext cx="2648758" cy="18839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colorTemperature colorTemp="59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071" y="2696275"/>
            <a:ext cx="2650091" cy="17876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75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A: Baselin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1 mm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10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6.5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4528651" cy="252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410904" cy="180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4860000"/>
            <a:ext cx="3142932" cy="1800000"/>
          </a:xfrm>
          <a:prstGeom prst="rect">
            <a:avLst/>
          </a:prstGeom>
        </p:spPr>
      </p:pic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158679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6.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 min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4.5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3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8140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H: Baselin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No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10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6.5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735174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4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 min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3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4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4378627" cy="252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771819" cy="180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4860000"/>
            <a:ext cx="2989655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4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C: Thin bul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1 mm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10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4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5121166" cy="252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589108" cy="180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4860000"/>
            <a:ext cx="2807767" cy="1800000"/>
          </a:xfrm>
          <a:prstGeom prst="rect">
            <a:avLst/>
          </a:prstGeom>
        </p:spPr>
      </p:pic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610701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 min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4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5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9789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G: Ultra-Thin bul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1 mm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1.5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460574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32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</a:t>
                      </a:r>
                      <a:r>
                        <a:rPr lang="de-DE" sz="1200" baseline="0" smtClean="0"/>
                        <a:t> min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9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5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5137864" cy="252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656166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613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E: Molybdenum bul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Molybde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1 mm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10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6,5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858596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7.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6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 min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2.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5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6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5214339" cy="252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746250" cy="180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4860000"/>
            <a:ext cx="315680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618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Configuration I: Back coupli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Edge cooling @ 20°C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ulk material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1 mm ceramic interpos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ickness 10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avity 3.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Base 6,5 mm</a:t>
            </a:r>
          </a:p>
          <a:p>
            <a:pPr>
              <a:spcAft>
                <a:spcPts val="1200"/>
              </a:spcAft>
            </a:pPr>
            <a:endParaRPr lang="de-DE" smtClean="0"/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162126"/>
              </p:ext>
            </p:extLst>
          </p:nvPr>
        </p:nvGraphicFramePr>
        <p:xfrm>
          <a:off x="3600000" y="4320000"/>
          <a:ext cx="2657474" cy="1483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0036">
                  <a:extLst>
                    <a:ext uri="{9D8B030D-6E8A-4147-A177-3AD203B41FA5}">
                      <a16:colId xmlns:a16="http://schemas.microsoft.com/office/drawing/2014/main" val="2822058542"/>
                    </a:ext>
                  </a:extLst>
                </a:gridCol>
                <a:gridCol w="722294">
                  <a:extLst>
                    <a:ext uri="{9D8B030D-6E8A-4147-A177-3AD203B41FA5}">
                      <a16:colId xmlns:a16="http://schemas.microsoft.com/office/drawing/2014/main" val="3371662125"/>
                    </a:ext>
                  </a:extLst>
                </a:gridCol>
                <a:gridCol w="955144">
                  <a:extLst>
                    <a:ext uri="{9D8B030D-6E8A-4147-A177-3AD203B41FA5}">
                      <a16:colId xmlns:a16="http://schemas.microsoft.com/office/drawing/2014/main" val="19268201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 in °C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CDD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Hybrid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31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</a:t>
                      </a:r>
                      <a:r>
                        <a:rPr lang="de-DE" sz="1200" baseline="0" smtClean="0"/>
                        <a:t> max.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766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Temp. min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1.5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de-DE" sz="12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18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smtClean="0"/>
                        <a:t>Gradient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4.5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0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338550"/>
                  </a:ext>
                </a:extLst>
              </a:tr>
            </a:tbl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000" y="180000"/>
            <a:ext cx="4864364" cy="2520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2880000"/>
            <a:ext cx="3441694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284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grpSp>
        <p:nvGrpSpPr>
          <p:cNvPr id="24" name="Gruppieren 23"/>
          <p:cNvGrpSpPr/>
          <p:nvPr/>
        </p:nvGrpSpPr>
        <p:grpSpPr>
          <a:xfrm>
            <a:off x="2873656" y="1246081"/>
            <a:ext cx="4594464" cy="2283183"/>
            <a:chOff x="2873656" y="929370"/>
            <a:chExt cx="4594464" cy="2283183"/>
          </a:xfrm>
        </p:grpSpPr>
        <p:sp>
          <p:nvSpPr>
            <p:cNvPr id="8" name="Textfeld 7"/>
            <p:cNvSpPr txBox="1"/>
            <p:nvPr/>
          </p:nvSpPr>
          <p:spPr>
            <a:xfrm>
              <a:off x="4682309" y="929370"/>
              <a:ext cx="1423941" cy="562846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smtClean="0"/>
                <a:t>No ceramic</a:t>
              </a:r>
              <a:r>
                <a:rPr lang="de-DE" sz="1600"/>
                <a:t> </a:t>
              </a:r>
              <a:r>
                <a:rPr lang="de-DE" sz="1600" smtClean="0"/>
                <a:t>interposer</a:t>
              </a: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195507" y="2371214"/>
              <a:ext cx="39754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smtClean="0"/>
                <a:t>Thin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5012765" y="2944659"/>
              <a:ext cx="763029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smtClean="0"/>
                <a:t>Ultrathin</a:t>
              </a:r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2873656" y="1797768"/>
              <a:ext cx="4594464" cy="562846"/>
              <a:chOff x="3072428" y="1797768"/>
              <a:chExt cx="4594464" cy="562846"/>
            </a:xfrm>
          </p:grpSpPr>
          <p:sp>
            <p:nvSpPr>
              <p:cNvPr id="6" name="Textfeld 5"/>
              <p:cNvSpPr txBox="1"/>
              <p:nvPr/>
            </p:nvSpPr>
            <p:spPr>
              <a:xfrm>
                <a:off x="5166375" y="1797768"/>
                <a:ext cx="831959" cy="2678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de-DE" sz="1600" smtClean="0"/>
                  <a:t>Standard</a:t>
                </a:r>
              </a:p>
            </p:txBody>
          </p:sp>
          <p:sp>
            <p:nvSpPr>
              <p:cNvPr id="7" name="Textfeld 6"/>
              <p:cNvSpPr txBox="1"/>
              <p:nvPr/>
            </p:nvSpPr>
            <p:spPr>
              <a:xfrm>
                <a:off x="3072428" y="1797768"/>
                <a:ext cx="1298948" cy="5628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de-DE" sz="1600" smtClean="0"/>
                  <a:t>Molybdenum</a:t>
                </a:r>
                <a:r>
                  <a:rPr lang="de-DE" sz="1600"/>
                  <a:t> </a:t>
                </a:r>
                <a:r>
                  <a:rPr lang="de-DE" sz="1600" smtClean="0"/>
                  <a:t>support</a:t>
                </a:r>
              </a:p>
            </p:txBody>
          </p:sp>
          <p:sp>
            <p:nvSpPr>
              <p:cNvPr id="11" name="Textfeld 10"/>
              <p:cNvSpPr txBox="1"/>
              <p:nvPr/>
            </p:nvSpPr>
            <p:spPr>
              <a:xfrm>
                <a:off x="6828502" y="1797768"/>
                <a:ext cx="838390" cy="5628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de-DE" sz="1600" smtClean="0"/>
                  <a:t>Back coupling</a:t>
                </a:r>
              </a:p>
            </p:txBody>
          </p:sp>
        </p:grpSp>
        <p:sp>
          <p:nvSpPr>
            <p:cNvPr id="17" name="Pfeil nach links 16"/>
            <p:cNvSpPr/>
            <p:nvPr/>
          </p:nvSpPr>
          <p:spPr>
            <a:xfrm>
              <a:off x="4254017" y="1824075"/>
              <a:ext cx="586025" cy="268645"/>
            </a:xfrm>
            <a:prstGeom prst="leftArrow">
              <a:avLst/>
            </a:prstGeom>
            <a:solidFill>
              <a:schemeClr val="tx2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Pfeil nach oben 18"/>
            <p:cNvSpPr/>
            <p:nvPr/>
          </p:nvSpPr>
          <p:spPr>
            <a:xfrm>
              <a:off x="5240588" y="1507180"/>
              <a:ext cx="240361" cy="316895"/>
            </a:xfrm>
            <a:prstGeom prst="upArrow">
              <a:avLst/>
            </a:prstGeom>
            <a:solidFill>
              <a:schemeClr val="tx2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" name="Pfeil nach links 20"/>
            <p:cNvSpPr/>
            <p:nvPr/>
          </p:nvSpPr>
          <p:spPr>
            <a:xfrm rot="10800000">
              <a:off x="5953025" y="1822694"/>
              <a:ext cx="586025" cy="268645"/>
            </a:xfrm>
            <a:prstGeom prst="leftArrow">
              <a:avLst/>
            </a:prstGeom>
            <a:solidFill>
              <a:schemeClr val="tx2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Pfeil nach oben 21"/>
            <p:cNvSpPr/>
            <p:nvPr/>
          </p:nvSpPr>
          <p:spPr>
            <a:xfrm rot="10800000">
              <a:off x="5249800" y="2065662"/>
              <a:ext cx="240361" cy="316895"/>
            </a:xfrm>
            <a:prstGeom prst="upArrow">
              <a:avLst/>
            </a:prstGeom>
            <a:solidFill>
              <a:schemeClr val="tx2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Pfeil nach oben 22"/>
            <p:cNvSpPr/>
            <p:nvPr/>
          </p:nvSpPr>
          <p:spPr>
            <a:xfrm rot="10800000">
              <a:off x="5240587" y="2664762"/>
              <a:ext cx="240361" cy="316895"/>
            </a:xfrm>
            <a:prstGeom prst="upArrow">
              <a:avLst/>
            </a:prstGeom>
            <a:solidFill>
              <a:schemeClr val="tx2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5" name="Textfeld 24"/>
          <p:cNvSpPr txBox="1"/>
          <p:nvPr/>
        </p:nvSpPr>
        <p:spPr>
          <a:xfrm>
            <a:off x="6612413" y="816762"/>
            <a:ext cx="1345892" cy="5512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Saves ~ 1°C in gradient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3106349" y="2968574"/>
            <a:ext cx="154324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</a:t>
            </a:r>
            <a:r>
              <a:rPr lang="de-DE" sz="1200">
                <a:solidFill>
                  <a:srgbClr val="C00000"/>
                </a:solidFill>
              </a:rPr>
              <a:t> 1°C </a:t>
            </a:r>
            <a:r>
              <a:rPr lang="de-DE" sz="1200" smtClean="0">
                <a:solidFill>
                  <a:srgbClr val="C00000"/>
                </a:solidFill>
              </a:rPr>
              <a:t>offset</a:t>
            </a:r>
          </a:p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 </a:t>
            </a:r>
            <a:r>
              <a:rPr lang="de-DE" sz="1200">
                <a:solidFill>
                  <a:srgbClr val="C00000"/>
                </a:solidFill>
              </a:rPr>
              <a:t>1°C </a:t>
            </a:r>
            <a:r>
              <a:rPr lang="de-DE" sz="1200" smtClean="0">
                <a:solidFill>
                  <a:srgbClr val="C00000"/>
                </a:solidFill>
              </a:rPr>
              <a:t>gradient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8061196" y="1542963"/>
            <a:ext cx="1853421" cy="13336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Evens out influence of hybrid / support gradient</a:t>
            </a:r>
          </a:p>
          <a:p>
            <a:pPr marL="171450" indent="-1714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Better for thinner supports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6415056" y="3337555"/>
            <a:ext cx="154324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</a:t>
            </a:r>
            <a:r>
              <a:rPr lang="de-DE" sz="1200">
                <a:solidFill>
                  <a:srgbClr val="C00000"/>
                </a:solidFill>
              </a:rPr>
              <a:t> </a:t>
            </a:r>
            <a:r>
              <a:rPr lang="de-DE" sz="1200" smtClean="0">
                <a:solidFill>
                  <a:srgbClr val="C00000"/>
                </a:solidFill>
              </a:rPr>
              <a:t>2°C offset</a:t>
            </a:r>
          </a:p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 3°C gradient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  <p:cxnSp>
        <p:nvCxnSpPr>
          <p:cNvPr id="31" name="Gerader Verbinder 30"/>
          <p:cNvCxnSpPr/>
          <p:nvPr/>
        </p:nvCxnSpPr>
        <p:spPr>
          <a:xfrm flipH="1" flipV="1">
            <a:off x="5873262" y="3529265"/>
            <a:ext cx="384549" cy="29214"/>
          </a:xfrm>
          <a:prstGeom prst="line">
            <a:avLst/>
          </a:prstGeom>
          <a:ln w="12700" cmpd="sng">
            <a:solidFill>
              <a:srgbClr val="0070C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flipH="1">
            <a:off x="7369218" y="1864070"/>
            <a:ext cx="589087" cy="336156"/>
          </a:xfrm>
          <a:prstGeom prst="line">
            <a:avLst/>
          </a:prstGeom>
          <a:ln w="12700" cmpd="sng">
            <a:solidFill>
              <a:srgbClr val="0070C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 flipH="1">
            <a:off x="5963268" y="1196586"/>
            <a:ext cx="589087" cy="336156"/>
          </a:xfrm>
          <a:prstGeom prst="line">
            <a:avLst/>
          </a:prstGeom>
          <a:ln w="12700" cmpd="sng">
            <a:solidFill>
              <a:srgbClr val="0070C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>
          <a:xfrm flipH="1">
            <a:off x="4457946" y="2821872"/>
            <a:ext cx="669728" cy="266331"/>
          </a:xfrm>
          <a:prstGeom prst="line">
            <a:avLst/>
          </a:prstGeom>
          <a:ln w="12700" cmpd="sng">
            <a:solidFill>
              <a:srgbClr val="0070C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779290" y="1501237"/>
            <a:ext cx="154324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</a:t>
            </a:r>
            <a:r>
              <a:rPr lang="de-DE" sz="1200">
                <a:solidFill>
                  <a:srgbClr val="C00000"/>
                </a:solidFill>
              </a:rPr>
              <a:t> </a:t>
            </a:r>
            <a:r>
              <a:rPr lang="de-DE" sz="1200" smtClean="0">
                <a:solidFill>
                  <a:srgbClr val="C00000"/>
                </a:solidFill>
              </a:rPr>
              <a:t>0.5°C offset</a:t>
            </a:r>
          </a:p>
          <a:p>
            <a:pPr marL="171450" indent="-1714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de-DE" sz="1200" smtClean="0">
                <a:solidFill>
                  <a:srgbClr val="C00000"/>
                </a:solidFill>
              </a:rPr>
              <a:t>Plus 2°C gradient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  <p:cxnSp>
        <p:nvCxnSpPr>
          <p:cNvPr id="40" name="Gerader Verbinder 39"/>
          <p:cNvCxnSpPr/>
          <p:nvPr/>
        </p:nvCxnSpPr>
        <p:spPr>
          <a:xfrm>
            <a:off x="2199581" y="1759333"/>
            <a:ext cx="1200591" cy="318289"/>
          </a:xfrm>
          <a:prstGeom prst="line">
            <a:avLst/>
          </a:prstGeom>
          <a:ln w="12700" cmpd="sng">
            <a:solidFill>
              <a:srgbClr val="0070C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947740" y="3994373"/>
            <a:ext cx="4925522" cy="20774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/>
              <a:t>Recommendation: 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Molybdenum base material makes ceramic interposer obsolete (except for HV, to be checked)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Thin down Modlybdenum support to minimum tolerable for mechanical stability and filter accommodation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6539049" y="4013503"/>
            <a:ext cx="5193405" cy="25263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/>
              <a:t> 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Use high performance thermal strap w/ high in-plane conductivity as interface for backside cooling (thickness to be evaluated)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Thin down Molybdenum support to minimum tolerable 4 mechanical stability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Maybe gain on inter-plane distance</a:t>
            </a:r>
          </a:p>
        </p:txBody>
      </p:sp>
    </p:spTree>
    <p:extLst>
      <p:ext uri="{BB962C8B-B14F-4D97-AF65-F5344CB8AC3E}">
        <p14:creationId xmlns:p14="http://schemas.microsoft.com/office/powerpoint/2010/main" val="1062428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47739" y="709051"/>
            <a:ext cx="10296524" cy="1404937"/>
          </a:xfrm>
        </p:spPr>
        <p:txBody>
          <a:bodyPr/>
          <a:lstStyle/>
          <a:p>
            <a:r>
              <a:rPr lang="de-DE" smtClean="0"/>
              <a:t>Next step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9" name="Inhaltsplatzhalter 1"/>
          <p:cNvSpPr>
            <a:spLocks noGrp="1"/>
          </p:cNvSpPr>
          <p:nvPr>
            <p:ph sz="half" idx="1"/>
          </p:nvPr>
        </p:nvSpPr>
        <p:spPr>
          <a:xfrm>
            <a:off x="835197" y="1283024"/>
            <a:ext cx="4932557" cy="1866792"/>
          </a:xfrm>
        </p:spPr>
        <p:txBody>
          <a:bodyPr/>
          <a:lstStyle/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Fabricate hybrids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Design of DSC (easy)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Design of ASC (harder)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Finalize mechanics:</a:t>
            </a:r>
          </a:p>
          <a:p>
            <a:pPr marL="522288" lvl="2" indent="-342900">
              <a:spcAft>
                <a:spcPts val="1200"/>
              </a:spcAft>
            </a:pPr>
            <a:r>
              <a:rPr lang="de-DE" smtClean="0"/>
              <a:t>Decide on Ceramics (yes/no, preference: No)</a:t>
            </a:r>
          </a:p>
          <a:p>
            <a:pPr marL="522288" lvl="2" indent="-342900">
              <a:spcAft>
                <a:spcPts val="1200"/>
              </a:spcAft>
            </a:pPr>
            <a:r>
              <a:rPr lang="de-DE" smtClean="0"/>
              <a:t>Decide on Thermal connection, evaluate TPG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l="1552" t="1338" r="1315" b="1068"/>
          <a:stretch/>
        </p:blipFill>
        <p:spPr>
          <a:xfrm>
            <a:off x="7152481" y="1314884"/>
            <a:ext cx="3749040" cy="445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88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tent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6" name="Inhaltsplatzhalter 1"/>
          <p:cNvSpPr>
            <a:spLocks noGrp="1"/>
          </p:cNvSpPr>
          <p:nvPr>
            <p:ph sz="half" idx="1"/>
          </p:nvPr>
        </p:nvSpPr>
        <p:spPr>
          <a:xfrm>
            <a:off x="947738" y="1274382"/>
            <a:ext cx="10870881" cy="1866792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oncept: </a:t>
            </a:r>
          </a:p>
          <a:p>
            <a:pPr marL="720725" indent="-3667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Status</a:t>
            </a:r>
          </a:p>
          <a:p>
            <a:pPr marL="720725" indent="-3667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Finalization of DPA concept</a:t>
            </a:r>
          </a:p>
          <a:p>
            <a:pPr marL="720725" indent="-3667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ermal consideration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/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smtClean="0"/>
          </a:p>
          <a:p>
            <a:pPr marL="522288" lvl="2" indent="-342900">
              <a:spcAft>
                <a:spcPts val="1200"/>
              </a:spcAft>
            </a:pPr>
            <a:endParaRPr lang="de-DE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2448" y="1350499"/>
            <a:ext cx="3759801" cy="431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6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Hybrid layout statu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pic>
        <p:nvPicPr>
          <p:cNvPr id="45058" name="Picture 2" descr="part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00" y="1440000"/>
            <a:ext cx="6349368" cy="3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5987743" y="994152"/>
            <a:ext cx="331822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smtClean="0"/>
              <a:t>CCD</a:t>
            </a:r>
            <a:endParaRPr lang="de-DE" sz="1200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5960270" y="5779117"/>
            <a:ext cx="658835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smtClean="0">
                <a:latin typeface="Symbol" panose="05050102010706020507" pitchFamily="18" charset="2"/>
              </a:rPr>
              <a:t>F </a:t>
            </a:r>
            <a:r>
              <a:rPr lang="de-DE" sz="1200" smtClean="0"/>
              <a:t>- Driver</a:t>
            </a:r>
            <a:endParaRPr lang="de-DE" sz="1200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7261788" y="5815708"/>
            <a:ext cx="995947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Pitchadapter (passive)</a:t>
            </a:r>
            <a:endParaRPr lang="de-DE" sz="1200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8476300" y="5815708"/>
            <a:ext cx="995947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VERITAS 2.1 ICs (8x)</a:t>
            </a:r>
            <a:endParaRPr lang="de-DE" sz="1200" dirty="0" err="1" smtClean="0"/>
          </a:p>
        </p:txBody>
      </p:sp>
      <p:sp>
        <p:nvSpPr>
          <p:cNvPr id="10" name="Textfeld 9"/>
          <p:cNvSpPr txBox="1"/>
          <p:nvPr/>
        </p:nvSpPr>
        <p:spPr>
          <a:xfrm>
            <a:off x="9543100" y="5815708"/>
            <a:ext cx="9959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ADC driver</a:t>
            </a:r>
          </a:p>
          <a:p>
            <a:pPr algn="ctr"/>
            <a:r>
              <a:rPr lang="de-DE" sz="1200" smtClean="0"/>
              <a:t>(Offset and gain)</a:t>
            </a:r>
            <a:endParaRPr lang="de-DE" sz="1200" dirty="0" err="1" smtClean="0"/>
          </a:p>
        </p:txBody>
      </p:sp>
      <p:sp>
        <p:nvSpPr>
          <p:cNvPr id="11" name="Textfeld 10"/>
          <p:cNvSpPr txBox="1"/>
          <p:nvPr/>
        </p:nvSpPr>
        <p:spPr>
          <a:xfrm>
            <a:off x="10665657" y="5819114"/>
            <a:ext cx="995947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MC-ADC</a:t>
            </a:r>
          </a:p>
        </p:txBody>
      </p:sp>
      <p:sp>
        <p:nvSpPr>
          <p:cNvPr id="13" name="Inhaltsplatzhalter 1"/>
          <p:cNvSpPr txBox="1">
            <a:spLocks/>
          </p:cNvSpPr>
          <p:nvPr/>
        </p:nvSpPr>
        <p:spPr>
          <a:xfrm>
            <a:off x="947739" y="1274382"/>
            <a:ext cx="3947156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Layout finished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Last open ToDo-details were addressed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larification of last details w/ manufactur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Ready for production in early Novemb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Stack height ~ 0.45 m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Integration of PCB on support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091824" y="991033"/>
            <a:ext cx="1263191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SC interface &amp; „glue“ logic</a:t>
            </a:r>
            <a:endParaRPr lang="de-DE" sz="1200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9857049" y="987186"/>
            <a:ext cx="1263191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smtClean="0"/>
              <a:t>MC-ADC power</a:t>
            </a:r>
            <a:endParaRPr lang="de-DE" sz="1200" dirty="0" err="1" smtClean="0"/>
          </a:p>
        </p:txBody>
      </p:sp>
      <p:cxnSp>
        <p:nvCxnSpPr>
          <p:cNvPr id="16" name="Gerader Verbinder 15"/>
          <p:cNvCxnSpPr>
            <a:stCxn id="6" idx="2"/>
          </p:cNvCxnSpPr>
          <p:nvPr/>
        </p:nvCxnSpPr>
        <p:spPr>
          <a:xfrm>
            <a:off x="6153654" y="1250441"/>
            <a:ext cx="943497" cy="1422421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9235440" y="1250441"/>
            <a:ext cx="805633" cy="768273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>
            <a:off x="10546179" y="1274382"/>
            <a:ext cx="285944" cy="1272112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10804087" y="3527051"/>
            <a:ext cx="285944" cy="2214877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>
            <a:off x="9857049" y="3819378"/>
            <a:ext cx="142972" cy="192255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>
            <a:off x="8723419" y="3988191"/>
            <a:ext cx="169000" cy="1790926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 flipH="1">
            <a:off x="7740780" y="3988191"/>
            <a:ext cx="415824" cy="1753737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 flipH="1">
            <a:off x="6272799" y="4107766"/>
            <a:ext cx="46766" cy="168055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695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Hybrid layout statu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pic>
        <p:nvPicPr>
          <p:cNvPr id="46082" name="Picture 2" descr="part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400000" y="1440000"/>
            <a:ext cx="6235768" cy="3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Inhaltsplatzhalter 1"/>
          <p:cNvSpPr txBox="1">
            <a:spLocks/>
          </p:cNvSpPr>
          <p:nvPr/>
        </p:nvSpPr>
        <p:spPr>
          <a:xfrm>
            <a:off x="947740" y="1274382"/>
            <a:ext cx="3954852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HV Bondpads placed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ermal vias filled and covered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>
            <a:off x="4927818" y="2826019"/>
            <a:ext cx="564889" cy="472966"/>
          </a:xfrm>
          <a:prstGeom prst="straightConnector1">
            <a:avLst/>
          </a:prstGeom>
          <a:ln w="3175" cmpd="sng">
            <a:solidFill>
              <a:srgbClr val="00A7E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235770" y="2498738"/>
            <a:ext cx="928139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smtClean="0"/>
              <a:t>HV bondpads</a:t>
            </a:r>
            <a:endParaRPr lang="de-DE" sz="1200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9835098" y="829592"/>
            <a:ext cx="841310" cy="2380267"/>
          </a:xfrm>
          <a:prstGeom prst="straightConnector1">
            <a:avLst/>
          </a:prstGeom>
          <a:ln w="3175" cmpd="sng">
            <a:solidFill>
              <a:srgbClr val="00A7E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9325929" y="504581"/>
            <a:ext cx="878446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smtClean="0"/>
              <a:t>Thermal vias</a:t>
            </a:r>
            <a:endParaRPr lang="de-DE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16109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ower estimat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pic>
        <p:nvPicPr>
          <p:cNvPr id="5" name="Picture 2" descr="part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00" y="1440000"/>
            <a:ext cx="6349368" cy="3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Inhaltsplatzhalter 1"/>
          <p:cNvSpPr>
            <a:spLocks noGrp="1"/>
          </p:cNvSpPr>
          <p:nvPr>
            <p:ph sz="half" idx="1"/>
          </p:nvPr>
        </p:nvSpPr>
        <p:spPr>
          <a:xfrm>
            <a:off x="835197" y="1163690"/>
            <a:ext cx="4932557" cy="1866792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DE" b="1" smtClean="0"/>
              <a:t>Hybrid total: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>
                <a:latin typeface="+mj-lt"/>
              </a:rPr>
              <a:t>CCD </a:t>
            </a:r>
            <a:r>
              <a:rPr lang="de-DE"/>
              <a:t>(worst case) </a:t>
            </a:r>
            <a:r>
              <a:rPr lang="de-DE" smtClean="0">
                <a:latin typeface="+mj-lt"/>
              </a:rPr>
              <a:t>: </a:t>
            </a:r>
            <a:r>
              <a:rPr lang="de-DE" smtClean="0">
                <a:solidFill>
                  <a:srgbClr val="FF9900"/>
                </a:solidFill>
                <a:latin typeface="+mj-lt"/>
              </a:rPr>
              <a:t>1.5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/>
              <a:t>CCD </a:t>
            </a:r>
            <a:r>
              <a:rPr lang="de-DE" smtClean="0"/>
              <a:t>(realistic </a:t>
            </a:r>
            <a:r>
              <a:rPr lang="de-DE"/>
              <a:t>case) : </a:t>
            </a:r>
            <a:r>
              <a:rPr lang="de-DE" smtClean="0">
                <a:solidFill>
                  <a:srgbClr val="FF9900"/>
                </a:solidFill>
              </a:rPr>
              <a:t>0.5 W</a:t>
            </a:r>
            <a:endParaRPr lang="de-DE" smtClean="0">
              <a:solidFill>
                <a:srgbClr val="FF9900"/>
              </a:solidFill>
              <a:latin typeface="+mj-lt"/>
            </a:endParaRP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>
                <a:latin typeface="Symbol" panose="05050102010706020507" pitchFamily="18" charset="2"/>
              </a:rPr>
              <a:t>F</a:t>
            </a:r>
            <a:r>
              <a:rPr lang="de-DE" smtClean="0"/>
              <a:t> pulsers ~ </a:t>
            </a:r>
            <a:r>
              <a:rPr lang="de-DE" smtClean="0">
                <a:solidFill>
                  <a:srgbClr val="00B0F0"/>
                </a:solidFill>
              </a:rPr>
              <a:t>1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ADC buffer ~ </a:t>
            </a:r>
            <a:r>
              <a:rPr lang="de-DE" smtClean="0">
                <a:solidFill>
                  <a:srgbClr val="92D050"/>
                </a:solidFill>
              </a:rPr>
              <a:t>0.8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VERITAS IC ~ </a:t>
            </a:r>
            <a:r>
              <a:rPr lang="de-DE" smtClean="0">
                <a:solidFill>
                  <a:srgbClr val="FF0000"/>
                </a:solidFill>
              </a:rPr>
              <a:t>3.2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ADC + local LDO: </a:t>
            </a:r>
            <a:r>
              <a:rPr lang="de-DE" smtClean="0">
                <a:solidFill>
                  <a:srgbClr val="7030A0"/>
                </a:solidFill>
              </a:rPr>
              <a:t>0.6 W</a:t>
            </a:r>
            <a:r>
              <a:rPr lang="de-DE" smtClean="0"/>
              <a:t> + </a:t>
            </a:r>
            <a:r>
              <a:rPr lang="de-DE" smtClean="0">
                <a:solidFill>
                  <a:srgbClr val="0070C0"/>
                </a:solidFill>
              </a:rPr>
              <a:t>0.4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ontingency (e.g. for glue logic): 0.5 W</a:t>
            </a:r>
          </a:p>
          <a:p>
            <a:pPr marL="3429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b="1" smtClean="0"/>
              <a:t>Total: </a:t>
            </a:r>
            <a:r>
              <a:rPr lang="de-DE" smtClean="0"/>
              <a:t>8 W </a:t>
            </a:r>
          </a:p>
        </p:txBody>
      </p:sp>
      <p:sp>
        <p:nvSpPr>
          <p:cNvPr id="8" name="Rechteck 7"/>
          <p:cNvSpPr/>
          <p:nvPr/>
        </p:nvSpPr>
        <p:spPr>
          <a:xfrm>
            <a:off x="5552400" y="3740691"/>
            <a:ext cx="2163729" cy="1063426"/>
          </a:xfrm>
          <a:prstGeom prst="rect">
            <a:avLst/>
          </a:prstGeom>
          <a:solidFill>
            <a:srgbClr val="00B0F0">
              <a:alpha val="52157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5400000" y="2158752"/>
            <a:ext cx="2316129" cy="1294866"/>
          </a:xfrm>
          <a:prstGeom prst="rect">
            <a:avLst/>
          </a:prstGeom>
          <a:solidFill>
            <a:srgbClr val="FF9900">
              <a:alpha val="52157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560191" y="2315727"/>
            <a:ext cx="390202" cy="2411017"/>
          </a:xfrm>
          <a:prstGeom prst="rect">
            <a:avLst/>
          </a:prstGeom>
          <a:solidFill>
            <a:srgbClr val="FF0000">
              <a:alpha val="52157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9690295" y="2468127"/>
            <a:ext cx="390202" cy="2547005"/>
          </a:xfrm>
          <a:prstGeom prst="rect">
            <a:avLst/>
          </a:prstGeom>
          <a:solidFill>
            <a:srgbClr val="92D050">
              <a:alpha val="52157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0486117" y="3270419"/>
            <a:ext cx="542953" cy="563027"/>
          </a:xfrm>
          <a:prstGeom prst="rect">
            <a:avLst/>
          </a:prstGeom>
          <a:solidFill>
            <a:srgbClr val="CC3399">
              <a:alpha val="54902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0332558" y="2254062"/>
            <a:ext cx="759318" cy="805661"/>
          </a:xfrm>
          <a:prstGeom prst="rect">
            <a:avLst/>
          </a:prstGeom>
          <a:solidFill>
            <a:srgbClr val="0070C0">
              <a:alpha val="52157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6197228" y="2636908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/>
              <a:t>1.5 W</a:t>
            </a:r>
          </a:p>
        </p:txBody>
      </p:sp>
      <p:sp>
        <p:nvSpPr>
          <p:cNvPr id="15" name="Rechteck 14"/>
          <p:cNvSpPr/>
          <p:nvPr/>
        </p:nvSpPr>
        <p:spPr>
          <a:xfrm>
            <a:off x="6273428" y="4103127"/>
            <a:ext cx="5501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smtClean="0"/>
              <a:t>1 </a:t>
            </a:r>
            <a:r>
              <a:rPr lang="de-DE" sz="1600" b="1"/>
              <a:t>W</a:t>
            </a:r>
          </a:p>
        </p:txBody>
      </p:sp>
      <p:sp>
        <p:nvSpPr>
          <p:cNvPr id="16" name="Rechteck 15"/>
          <p:cNvSpPr/>
          <p:nvPr/>
        </p:nvSpPr>
        <p:spPr>
          <a:xfrm rot="16200000">
            <a:off x="8396235" y="3284537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smtClean="0"/>
              <a:t>3.2 W</a:t>
            </a:r>
            <a:endParaRPr lang="de-DE" sz="1600" b="1"/>
          </a:p>
        </p:txBody>
      </p:sp>
      <p:sp>
        <p:nvSpPr>
          <p:cNvPr id="17" name="Rechteck 16"/>
          <p:cNvSpPr/>
          <p:nvPr/>
        </p:nvSpPr>
        <p:spPr>
          <a:xfrm rot="16200000">
            <a:off x="9550384" y="35714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smtClean="0"/>
              <a:t>0.8 W</a:t>
            </a:r>
            <a:endParaRPr lang="de-DE" sz="1600" b="1"/>
          </a:p>
        </p:txBody>
      </p:sp>
      <p:sp>
        <p:nvSpPr>
          <p:cNvPr id="18" name="Rechteck 17"/>
          <p:cNvSpPr/>
          <p:nvPr/>
        </p:nvSpPr>
        <p:spPr>
          <a:xfrm>
            <a:off x="10486117" y="3259544"/>
            <a:ext cx="52770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smtClean="0"/>
              <a:t>0.6 </a:t>
            </a:r>
          </a:p>
          <a:p>
            <a:pPr algn="ctr"/>
            <a:r>
              <a:rPr lang="de-DE" sz="1600" b="1" smtClean="0"/>
              <a:t>W</a:t>
            </a:r>
            <a:endParaRPr lang="de-DE" sz="1600" b="1"/>
          </a:p>
        </p:txBody>
      </p:sp>
      <p:sp>
        <p:nvSpPr>
          <p:cNvPr id="19" name="Rechteck 18"/>
          <p:cNvSpPr/>
          <p:nvPr/>
        </p:nvSpPr>
        <p:spPr>
          <a:xfrm>
            <a:off x="10486116" y="2376944"/>
            <a:ext cx="52770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smtClean="0"/>
              <a:t>0.4 </a:t>
            </a:r>
          </a:p>
          <a:p>
            <a:pPr algn="ctr"/>
            <a:r>
              <a:rPr lang="de-DE" sz="1600" b="1" smtClean="0"/>
              <a:t>W</a:t>
            </a:r>
            <a:endParaRPr lang="de-DE" sz="1600" b="1"/>
          </a:p>
        </p:txBody>
      </p:sp>
    </p:spTree>
    <p:extLst>
      <p:ext uri="{BB962C8B-B14F-4D97-AF65-F5344CB8AC3E}">
        <p14:creationId xmlns:p14="http://schemas.microsoft.com/office/powerpoint/2010/main" val="1294438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PA concep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12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Functions of DPA support: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echanical support for Hybrid PCB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echanical support for CCD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Thermal interface for CCD and Hybrid PCB to Heatsink (heat removal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ust allow integration of multiple DPAs in common stac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ust provide for small inter-plane distance, 10 mm or les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ust accommodate shield for FS region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926" y="1378633"/>
            <a:ext cx="3761186" cy="433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28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Vertical stackup</a:t>
            </a:r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615" y="1589625"/>
            <a:ext cx="5522159" cy="159513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615" y="4156206"/>
            <a:ext cx="5560386" cy="171676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7860" y="1042350"/>
            <a:ext cx="5525634" cy="210947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7860" y="3662515"/>
            <a:ext cx="5852307" cy="2269333"/>
          </a:xfrm>
          <a:prstGeom prst="rect">
            <a:avLst/>
          </a:prstGeom>
        </p:spPr>
      </p:pic>
      <p:sp>
        <p:nvSpPr>
          <p:cNvPr id="11" name="Inhaltsplatzhalter 1"/>
          <p:cNvSpPr txBox="1">
            <a:spLocks/>
          </p:cNvSpPr>
          <p:nvPr/>
        </p:nvSpPr>
        <p:spPr>
          <a:xfrm>
            <a:off x="947740" y="1274382"/>
            <a:ext cx="3954852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(Some options)</a:t>
            </a:r>
          </a:p>
        </p:txBody>
      </p:sp>
    </p:spTree>
    <p:extLst>
      <p:ext uri="{BB962C8B-B14F-4D97-AF65-F5344CB8AC3E}">
        <p14:creationId xmlns:p14="http://schemas.microsoft.com/office/powerpoint/2010/main" val="276700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figuration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947739" y="1274382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Investigated configurations: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With and without thermal support ceramic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Molybdenum and Aluminum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Reduce thickness of support (limiting factor is connector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ooling from side and from back ( e.g. TPG heatsink)</a:t>
            </a:r>
          </a:p>
        </p:txBody>
      </p:sp>
      <p:sp>
        <p:nvSpPr>
          <p:cNvPr id="6" name="Inhaltsplatzhalter 1"/>
          <p:cNvSpPr txBox="1">
            <a:spLocks/>
          </p:cNvSpPr>
          <p:nvPr/>
        </p:nvSpPr>
        <p:spPr>
          <a:xfrm>
            <a:off x="6617315" y="1163690"/>
            <a:ext cx="4626948" cy="186679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mtClean="0"/>
              <a:t>Some stackup configurations already ruled out: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No additional spacer required for CCD (bonding step height of ~0.5 mm tolerable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mtClean="0"/>
              <a:t>CCD / PCB / ceramic stack removable from support only if really necessary (e.g. if support complicated + expensive)</a:t>
            </a:r>
          </a:p>
        </p:txBody>
      </p:sp>
    </p:spTree>
    <p:extLst>
      <p:ext uri="{BB962C8B-B14F-4D97-AF65-F5344CB8AC3E}">
        <p14:creationId xmlns:p14="http://schemas.microsoft.com/office/powerpoint/2010/main" val="3793719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figuration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 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773" y="1190635"/>
            <a:ext cx="3932241" cy="400085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1920241" y="5414442"/>
            <a:ext cx="2890910" cy="10387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/>
              <a:t>Side coupling </a:t>
            </a:r>
          </a:p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400" smtClean="0"/>
              <a:t>(possible also on long edge (edge coupling, but casing more spacious)</a:t>
            </a:r>
            <a:endParaRPr lang="de-DE" sz="1400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7319890" y="5421404"/>
            <a:ext cx="2216814" cy="10387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/>
              <a:t>Back coupling </a:t>
            </a:r>
          </a:p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400" smtClean="0"/>
              <a:t>(possible also on long edge, but casing more spacious)</a:t>
            </a:r>
            <a:endParaRPr lang="de-DE" sz="1400" dirty="0" err="1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856" y="1190634"/>
            <a:ext cx="4995149" cy="376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137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BAb9LrG6CZdye_dFF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7</Words>
  <Application>Microsoft Office PowerPoint</Application>
  <PresentationFormat>Breitbild</PresentationFormat>
  <Paragraphs>240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.SF NS Symbols Regular</vt:lpstr>
      <vt:lpstr>Arial</vt:lpstr>
      <vt:lpstr>Calibri</vt:lpstr>
      <vt:lpstr>Symbol</vt:lpstr>
      <vt:lpstr>Wingdings 3</vt:lpstr>
      <vt:lpstr>Office</vt:lpstr>
      <vt:lpstr>think-cell Folie</vt:lpstr>
      <vt:lpstr>IMMPRINT detector system DPA Status</vt:lpstr>
      <vt:lpstr>Contents</vt:lpstr>
      <vt:lpstr>Hybrid layout status</vt:lpstr>
      <vt:lpstr>Hybrid layout status</vt:lpstr>
      <vt:lpstr>Power estimate</vt:lpstr>
      <vt:lpstr>DPA concept</vt:lpstr>
      <vt:lpstr>Vertical stackup</vt:lpstr>
      <vt:lpstr>Configurations</vt:lpstr>
      <vt:lpstr>Configurations</vt:lpstr>
      <vt:lpstr>DPA concept</vt:lpstr>
      <vt:lpstr>DPA concept</vt:lpstr>
      <vt:lpstr>DPA concept</vt:lpstr>
      <vt:lpstr>DPA concept</vt:lpstr>
      <vt:lpstr>DPA concept</vt:lpstr>
      <vt:lpstr>DPA concept</vt:lpstr>
      <vt:lpstr>DPA concept</vt:lpstr>
      <vt:lpstr>Next steps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Johannes Treis</cp:lastModifiedBy>
  <cp:revision>633</cp:revision>
  <cp:lastPrinted>2025-10-22T12:19:56Z</cp:lastPrinted>
  <dcterms:created xsi:type="dcterms:W3CDTF">2020-02-11T08:20:15Z</dcterms:created>
  <dcterms:modified xsi:type="dcterms:W3CDTF">2025-10-22T13:42:54Z</dcterms:modified>
</cp:coreProperties>
</file>